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0"/>
  </p:notesMasterIdLst>
  <p:sldIdLst>
    <p:sldId id="467" r:id="rId2"/>
    <p:sldId id="474" r:id="rId3"/>
    <p:sldId id="470" r:id="rId4"/>
    <p:sldId id="471" r:id="rId5"/>
    <p:sldId id="472" r:id="rId6"/>
    <p:sldId id="473" r:id="rId7"/>
    <p:sldId id="468" r:id="rId8"/>
    <p:sldId id="346" r:id="rId9"/>
  </p:sldIdLst>
  <p:sldSz cx="9144000" cy="6858000" type="screen4x3"/>
  <p:notesSz cx="7010400" cy="9296400"/>
  <p:custDataLst>
    <p:tags r:id="rId1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15">
          <p15:clr>
            <a:srgbClr val="A4A3A4"/>
          </p15:clr>
        </p15:guide>
        <p15:guide id="2" orient="horz" pos="3970">
          <p15:clr>
            <a:srgbClr val="A4A3A4"/>
          </p15:clr>
        </p15:guide>
        <p15:guide id="3" pos="1978">
          <p15:clr>
            <a:srgbClr val="A4A3A4"/>
          </p15:clr>
        </p15:guide>
        <p15:guide id="4" pos="28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365D"/>
    <a:srgbClr val="7A9A01"/>
    <a:srgbClr val="DCE5E4"/>
    <a:srgbClr val="99C301"/>
    <a:srgbClr val="174A7C"/>
    <a:srgbClr val="A69F88"/>
    <a:srgbClr val="99CC00"/>
    <a:srgbClr val="B1E101"/>
    <a:srgbClr val="FFB03B"/>
    <a:srgbClr val="CA7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34" autoAdjust="0"/>
    <p:restoredTop sz="93073" autoAdjust="0"/>
  </p:normalViewPr>
  <p:slideViewPr>
    <p:cSldViewPr snapToGrid="0" showGuides="1">
      <p:cViewPr varScale="1">
        <p:scale>
          <a:sx n="116" d="100"/>
          <a:sy n="116" d="100"/>
        </p:scale>
        <p:origin x="1272" y="108"/>
      </p:cViewPr>
      <p:guideLst>
        <p:guide orient="horz" pos="2215"/>
        <p:guide orient="horz" pos="3970"/>
        <p:guide pos="1978"/>
        <p:guide pos="28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5" d="100"/>
          <a:sy n="55" d="100"/>
        </p:scale>
        <p:origin x="-2526" y="-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6/02/2018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1" tIns="46586" rIns="93171" bIns="46586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1" tIns="46586" rIns="93171" bIns="46586" rtlCol="0"/>
          <a:lstStyle/>
          <a:p>
            <a:pPr lvl="0"/>
            <a:r>
              <a:rPr lang="en-CA" smtClean="0"/>
              <a:t>Modifiez les styles du texte du masque</a:t>
            </a:r>
          </a:p>
          <a:p>
            <a:pPr lvl="1"/>
            <a:r>
              <a:rPr lang="en-CA" smtClean="0"/>
              <a:t>Deuxième niveau</a:t>
            </a:r>
          </a:p>
          <a:p>
            <a:pPr lvl="2"/>
            <a:r>
              <a:rPr lang="en-CA" smtClean="0"/>
              <a:t>Troisième niveau</a:t>
            </a:r>
          </a:p>
          <a:p>
            <a:pPr lvl="3"/>
            <a:r>
              <a:rPr lang="en-CA" smtClean="0"/>
              <a:t>Quatrième niveau</a:t>
            </a:r>
          </a:p>
          <a:p>
            <a:pPr lvl="4"/>
            <a:r>
              <a:rPr lang="en-CA" smtClean="0"/>
              <a:t>Cinquième niveau</a:t>
            </a:r>
            <a:endParaRPr lang="en-CA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64299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9838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3.png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.xml"/><Relationship Id="rId7" Type="http://schemas.openxmlformats.org/officeDocument/2006/relationships/oleObject" Target="../embeddings/oleObject6.bin"/><Relationship Id="rId2" Type="http://schemas.openxmlformats.org/officeDocument/2006/relationships/tags" Target="../tags/tag34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4.emf"/><Relationship Id="rId2" Type="http://schemas.openxmlformats.org/officeDocument/2006/relationships/tags" Target="../tags/tag15.xml"/><Relationship Id="rId16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 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3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8" name="Imag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20072" y="130145"/>
            <a:ext cx="3923929" cy="5845581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5580112" y="836712"/>
            <a:ext cx="3168352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2000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smtClean="0"/>
              <a:t>Click to edit title</a:t>
            </a:r>
            <a:endParaRPr lang="en-CA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63" y="3357563"/>
            <a:ext cx="3168650" cy="22320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4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 smtClean="0"/>
              <a:t>Click to add presenter and dat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076056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fr-CA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 rot="16200000">
            <a:off x="7702189" y="3318829"/>
            <a:ext cx="2566408" cy="2462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defTabSz="1300163" eaLnBrk="0" hangingPunct="0">
              <a:defRPr/>
            </a:pPr>
            <a:r>
              <a:rPr lang="en-CA" sz="800" b="0" dirty="0" smtClean="0">
                <a:solidFill>
                  <a:schemeClr val="accent6"/>
                </a:solidFill>
                <a:cs typeface="+mn-cs"/>
              </a:rPr>
              <a:t>PRIVATE AND CONFIDENTIAL</a:t>
            </a:r>
          </a:p>
          <a:p>
            <a:pPr defTabSz="1300163" eaLnBrk="0" hangingPunct="0">
              <a:defRPr/>
            </a:pPr>
            <a:r>
              <a:rPr lang="en-CA" sz="800" b="0" dirty="0" smtClean="0">
                <a:solidFill>
                  <a:schemeClr val="accent6"/>
                </a:solidFill>
                <a:cs typeface="+mn-cs"/>
              </a:rPr>
              <a:t>© </a:t>
            </a:r>
            <a:r>
              <a:rPr lang="en-CA" sz="800" b="0" dirty="0">
                <a:solidFill>
                  <a:schemeClr val="accent6"/>
                </a:solidFill>
                <a:cs typeface="+mn-cs"/>
              </a:rPr>
              <a:t>Bombardier Inc. or its subsidiar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2" name="Rectangle 1"/>
          <p:cNvSpPr/>
          <p:nvPr userDrawn="1"/>
        </p:nvSpPr>
        <p:spPr>
          <a:xfrm>
            <a:off x="179512" y="332656"/>
            <a:ext cx="8964488" cy="5832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878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059832" y="2758430"/>
            <a:ext cx="3528391" cy="1390650"/>
          </a:xfrm>
          <a:prstGeom prst="rect">
            <a:avLst/>
          </a:prstGeom>
          <a:solidFill>
            <a:schemeClr val="bg1">
              <a:alpha val="47842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CA" sz="7200" b="1" i="0" dirty="0" smtClean="0">
                <a:solidFill>
                  <a:srgbClr val="808D97"/>
                </a:solidFill>
              </a:rPr>
              <a:t>Q&amp;A</a:t>
            </a:r>
            <a:endParaRPr lang="en-CA" sz="7200" b="1" i="0" dirty="0">
              <a:solidFill>
                <a:srgbClr val="808D97"/>
              </a:solidFill>
            </a:endParaRP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Rectangle à coins arrondis 7"/>
          <p:cNvSpPr/>
          <p:nvPr userDrawn="1">
            <p:custDataLst>
              <p:tags r:id="rId5"/>
            </p:custDataLst>
          </p:nvPr>
        </p:nvSpPr>
        <p:spPr>
          <a:xfrm>
            <a:off x="1475656" y="2780928"/>
            <a:ext cx="1512168" cy="1368152"/>
          </a:xfrm>
          <a:prstGeom prst="roundRect">
            <a:avLst/>
          </a:prstGeom>
          <a:solidFill>
            <a:srgbClr val="CC0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73050" lvl="0" indent="-273050" algn="ctr" defTabSz="1300163">
              <a:spcBef>
                <a:spcPct val="50000"/>
              </a:spcBef>
              <a:buClr>
                <a:srgbClr val="174A7C"/>
              </a:buClr>
            </a:pPr>
            <a:r>
              <a:rPr lang="en-CA" sz="7500" b="1" dirty="0" smtClean="0">
                <a:solidFill>
                  <a:prstClr val="white"/>
                </a:solidFill>
              </a:rPr>
              <a:t>?</a:t>
            </a:r>
            <a:endParaRPr lang="en-CA" sz="75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664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732240" y="6165304"/>
            <a:ext cx="2088232" cy="648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Rectangle 1"/>
          <p:cNvSpPr/>
          <p:nvPr userDrawn="1"/>
        </p:nvSpPr>
        <p:spPr>
          <a:xfrm>
            <a:off x="0" y="260648"/>
            <a:ext cx="9144000" cy="59046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3392"/>
            <a:ext cx="9144000" cy="2871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6079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36512" y="0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prstClr val="white"/>
              </a:solidFill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20072" y="130145"/>
            <a:ext cx="3923929" cy="5845581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580112" y="836712"/>
            <a:ext cx="3168352" cy="2376264"/>
          </a:xfrm>
        </p:spPr>
        <p:txBody>
          <a:bodyPr anchor="ctr" anchorCtr="0"/>
          <a:lstStyle/>
          <a:p>
            <a:r>
              <a:rPr lang="en-US" smtClean="0"/>
              <a:t>Click to edit Master title style</a:t>
            </a:r>
            <a:endParaRPr lang="en-CA" dirty="0"/>
          </a:p>
        </p:txBody>
      </p:sp>
      <p:sp>
        <p:nvSpPr>
          <p:cNvPr id="15" name="Sous-titre 2"/>
          <p:cNvSpPr>
            <a:spLocks noGrp="1"/>
          </p:cNvSpPr>
          <p:nvPr>
            <p:ph type="subTitle" idx="1"/>
          </p:nvPr>
        </p:nvSpPr>
        <p:spPr>
          <a:xfrm>
            <a:off x="5580112" y="3356992"/>
            <a:ext cx="3168352" cy="2281808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CA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480" y="0"/>
            <a:ext cx="48346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372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58" name="think-cell Slide" r:id="rId16" imgW="500" imgH="500" progId="">
                  <p:embed/>
                </p:oleObj>
              </mc:Choice>
              <mc:Fallback>
                <p:oleObj name="think-cell Slide" r:id="rId16" imgW="500" imgH="5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Espace réservé du 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50729" y="188640"/>
            <a:ext cx="8397735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 smtClean="0"/>
              <a:t>Click to edit title</a:t>
            </a:r>
            <a:endParaRPr lang="en-CA" noProof="0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115617" y="1196752"/>
            <a:ext cx="7416823" cy="576064"/>
          </a:xfrm>
          <a:solidFill>
            <a:srgbClr val="DCE5E4"/>
          </a:solidFill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smtClean="0"/>
              <a:t>CLICK TO EDIT TEXT</a:t>
            </a:r>
            <a:endParaRPr lang="en-CA" dirty="0" smtClean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115616" y="191683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smtClean="0"/>
              <a:t>CLICK TO EDIT TEXT</a:t>
            </a:r>
            <a:endParaRPr lang="en-CA" dirty="0" smtClean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1115616" y="263691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smtClean="0"/>
              <a:t>CLICK TO EDIT TEXT</a:t>
            </a:r>
            <a:endParaRPr lang="en-CA" dirty="0" smtClean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1115616" y="335699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smtClean="0"/>
              <a:t>CLICK TO EDIT TEXT</a:t>
            </a:r>
            <a:endParaRPr lang="en-CA" dirty="0" smtClean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14" hasCustomPrompt="1"/>
            <p:custDataLst>
              <p:tags r:id="rId8"/>
            </p:custDataLst>
          </p:nvPr>
        </p:nvSpPr>
        <p:spPr>
          <a:xfrm>
            <a:off x="1115616" y="407707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smtClean="0"/>
              <a:t>CLICK TO EDIT TEXT</a:t>
            </a:r>
            <a:endParaRPr lang="en-CA" dirty="0" smtClean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 hasCustomPrompt="1"/>
            <p:custDataLst>
              <p:tags r:id="rId9"/>
            </p:custDataLst>
          </p:nvPr>
        </p:nvSpPr>
        <p:spPr>
          <a:xfrm>
            <a:off x="496100" y="1196752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1</a:t>
            </a:r>
            <a:endParaRPr lang="en-CA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496100" y="1916848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2</a:t>
            </a:r>
            <a:endParaRPr lang="en-CA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496100" y="2636944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3</a:t>
            </a:r>
            <a:endParaRPr lang="en-CA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8" hasCustomPrompt="1"/>
            <p:custDataLst>
              <p:tags r:id="rId12"/>
            </p:custDataLst>
          </p:nvPr>
        </p:nvSpPr>
        <p:spPr>
          <a:xfrm>
            <a:off x="496100" y="3357040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4</a:t>
            </a:r>
            <a:endParaRPr lang="en-CA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9" hasCustomPrompt="1"/>
            <p:custDataLst>
              <p:tags r:id="rId13"/>
            </p:custDataLst>
          </p:nvPr>
        </p:nvSpPr>
        <p:spPr>
          <a:xfrm>
            <a:off x="496100" y="4077136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smtClean="0"/>
              <a:t>5</a:t>
            </a:r>
            <a:endParaRPr lang="en-CA" dirty="0"/>
          </a:p>
        </p:txBody>
      </p:sp>
      <p:sp>
        <p:nvSpPr>
          <p:cNvPr id="20" name="Espace réservé du numéro de diapositive 5"/>
          <p:cNvSpPr>
            <a:spLocks noGrp="1"/>
          </p:cNvSpPr>
          <p:nvPr>
            <p:ph type="sldNum" sz="quarter" idx="20"/>
            <p:custDataLst>
              <p:tags r:id="rId14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96111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pour une image  4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>
            <a:off x="395536" y="1679600"/>
            <a:ext cx="4824536" cy="3672408"/>
          </a:xfrm>
          <a:solidFill>
            <a:schemeClr val="bg1"/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 smtClean="0"/>
              <a:t>Click icon to add picture</a:t>
            </a:r>
            <a:endParaRPr lang="en-CA" noProof="0" dirty="0"/>
          </a:p>
        </p:txBody>
      </p:sp>
      <p:sp>
        <p:nvSpPr>
          <p:cNvPr id="9" name="Titr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5436096" y="1675408"/>
            <a:ext cx="3168352" cy="3672408"/>
          </a:xfrm>
        </p:spPr>
        <p:txBody>
          <a:bodyPr lIns="72000" rIns="72000" anchor="ctr" anchorCtr="0">
            <a:noAutofit/>
          </a:bodyPr>
          <a:lstStyle>
            <a:lvl1pPr algn="l">
              <a:lnSpc>
                <a:spcPct val="100000"/>
              </a:lnSpc>
              <a:defRPr sz="2000" cap="none" baseline="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r>
              <a:rPr lang="en-CA" noProof="0" dirty="0" smtClean="0"/>
              <a:t>Click to edit title</a:t>
            </a:r>
            <a:endParaRPr lang="en-CA" noProof="0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28592" y="1412776"/>
            <a:ext cx="3815408" cy="436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930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 smtClean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29" y="1196752"/>
            <a:ext cx="8397735" cy="4752528"/>
          </a:xfrm>
        </p:spPr>
        <p:txBody>
          <a:bodyPr lIns="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 smtClean="0"/>
              <a:t>Click to edit text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 smtClean="0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 smtClean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29" y="1196752"/>
            <a:ext cx="8397735" cy="4752528"/>
          </a:xfrm>
        </p:spPr>
        <p:txBody>
          <a:bodyPr lIns="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 smtClean="0"/>
              <a:t>Click to edit text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60040" y="6308725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smtClean="0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contenu 13"/>
          <p:cNvSpPr>
            <a:spLocks noGrp="1"/>
          </p:cNvSpPr>
          <p:nvPr>
            <p:ph sz="quarter" idx="13" hasCustomPrompt="1"/>
            <p:custDataLst>
              <p:tags r:id="rId3"/>
            </p:custDataLst>
          </p:nvPr>
        </p:nvSpPr>
        <p:spPr>
          <a:xfrm>
            <a:off x="361106" y="548680"/>
            <a:ext cx="8387358" cy="288032"/>
          </a:xfrm>
        </p:spPr>
        <p:txBody>
          <a:bodyPr lIns="0">
            <a:noAutofit/>
          </a:bodyPr>
          <a:lstStyle>
            <a:lvl1pPr>
              <a:defRPr sz="1600" b="1" cap="all" baseline="0">
                <a:solidFill>
                  <a:srgbClr val="8996A0"/>
                </a:solidFill>
              </a:defRPr>
            </a:lvl1pPr>
          </a:lstStyle>
          <a:p>
            <a:pPr lvl="0"/>
            <a:r>
              <a:rPr lang="en-CA" noProof="0" smtClean="0"/>
              <a:t>Click to edit SUB-TITLE</a:t>
            </a:r>
            <a:endParaRPr lang="en-CA" noProof="0" dirty="0" smtClean="0"/>
          </a:p>
        </p:txBody>
      </p:sp>
      <p:sp>
        <p:nvSpPr>
          <p:cNvPr id="10" name="Titr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8140" y="188640"/>
            <a:ext cx="8390324" cy="432048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 smtClean="0"/>
              <a:t>Click to edit Master title style</a:t>
            </a:r>
            <a:endParaRPr lang="en-CA" dirty="0"/>
          </a:p>
        </p:txBody>
      </p:sp>
      <p:sp>
        <p:nvSpPr>
          <p:cNvPr id="2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29" y="1196752"/>
            <a:ext cx="8397735" cy="4752528"/>
          </a:xfrm>
        </p:spPr>
        <p:txBody>
          <a:bodyPr lIns="0" rIns="72000"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lnSpc>
                <a:spcPts val="1600"/>
              </a:lnSpc>
              <a:buClr>
                <a:srgbClr val="8996A0"/>
              </a:buClr>
              <a:defRPr sz="1600"/>
            </a:lvl5pPr>
          </a:lstStyle>
          <a:p>
            <a:pPr lvl="0"/>
            <a:r>
              <a:rPr lang="en-CA" smtClean="0"/>
              <a:t>Click to edit text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  <a:endParaRPr lang="en-CA" dirty="0" smtClean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smtClean="0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12951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smtClean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44383" y="1916832"/>
            <a:ext cx="4132613" cy="4032448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smtClean="0"/>
              <a:t>Click to edit text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  <a:endParaRPr lang="en-CA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644007" y="1916832"/>
            <a:ext cx="4048731" cy="4032448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smtClean="0"/>
              <a:t>Click to edit text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  <a:endParaRPr lang="en-CA" dirty="0" smtClean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44363" y="1260000"/>
            <a:ext cx="4132633" cy="639762"/>
          </a:xfrm>
        </p:spPr>
        <p:txBody>
          <a:bodyPr lIns="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smtClean="0"/>
              <a:t>Click to edit text</a:t>
            </a:r>
            <a:endParaRPr lang="en-CA" dirty="0" smtClean="0"/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260000"/>
            <a:ext cx="4047713" cy="639762"/>
          </a:xfrm>
        </p:spPr>
        <p:txBody>
          <a:bodyPr lIns="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smtClean="0"/>
              <a:t>Click to edit text</a:t>
            </a:r>
            <a:endParaRPr lang="en-CA" dirty="0" smtClean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smtClean="0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smtClean="0"/>
              <a:t>Click to edit title</a:t>
            </a:r>
            <a:endParaRPr lang="en-CA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smtClean="0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5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350729" y="188640"/>
            <a:ext cx="8397735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 smtClean="0"/>
              <a:t>Click to edit title</a:t>
            </a:r>
            <a:endParaRPr lang="en-CA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>
          <a:xfrm>
            <a:off x="350729" y="1196752"/>
            <a:ext cx="8397735" cy="4752528"/>
          </a:xfrm>
          <a:prstGeom prst="rect">
            <a:avLst/>
          </a:prstGeom>
        </p:spPr>
        <p:txBody>
          <a:bodyPr vert="horz" lIns="0" tIns="45720" rIns="72000" bIns="45720" rtlCol="0">
            <a:normAutofit/>
          </a:bodyPr>
          <a:lstStyle/>
          <a:p>
            <a:pPr lvl="0"/>
            <a:r>
              <a:rPr lang="en-CA" dirty="0" smtClean="0"/>
              <a:t>Click to edit text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0"/>
            <a:endParaRPr lang="en-CA" dirty="0" smtClean="0"/>
          </a:p>
          <a:p>
            <a:pPr lvl="0"/>
            <a:endParaRPr lang="en-CA" dirty="0" smtClean="0"/>
          </a:p>
          <a:p>
            <a:pPr lvl="3"/>
            <a:endParaRPr lang="en-CA" dirty="0" smtClean="0"/>
          </a:p>
        </p:txBody>
      </p:sp>
      <p:pic>
        <p:nvPicPr>
          <p:cNvPr id="4" name="Image 3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04248" y="6087353"/>
            <a:ext cx="2339752" cy="752400"/>
          </a:xfrm>
          <a:prstGeom prst="rect">
            <a:avLst/>
          </a:prstGeom>
        </p:spPr>
      </p:pic>
      <p:sp>
        <p:nvSpPr>
          <p:cNvPr id="9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 rot="16200000">
            <a:off x="7702189" y="3318829"/>
            <a:ext cx="2566408" cy="2462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defTabSz="1300163" eaLnBrk="0" hangingPunct="0">
              <a:defRPr/>
            </a:pPr>
            <a:r>
              <a:rPr lang="en-CA" sz="800" b="0" dirty="0" smtClean="0">
                <a:solidFill>
                  <a:schemeClr val="accent6"/>
                </a:solidFill>
                <a:cs typeface="+mn-cs"/>
              </a:rPr>
              <a:t>PRIVATE AND CONFIDENTIAL</a:t>
            </a:r>
          </a:p>
          <a:p>
            <a:pPr defTabSz="1300163" eaLnBrk="0" hangingPunct="0">
              <a:defRPr/>
            </a:pPr>
            <a:r>
              <a:rPr lang="en-CA" sz="800" b="0" dirty="0" smtClean="0">
                <a:solidFill>
                  <a:schemeClr val="accent6"/>
                </a:solidFill>
                <a:cs typeface="+mn-cs"/>
              </a:rPr>
              <a:t>© </a:t>
            </a:r>
            <a:r>
              <a:rPr lang="en-CA" sz="800" b="0" dirty="0">
                <a:solidFill>
                  <a:schemeClr val="accent6"/>
                </a:solidFill>
                <a:cs typeface="+mn-cs"/>
              </a:rPr>
              <a:t>Bombardier Inc. or its subsidiaries. All rights reserved.</a:t>
            </a: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90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fld id="{89A93721-A7E3-4E3B-BEAA-F100E0D8E961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 flipV="1">
            <a:off x="358775" y="6096000"/>
            <a:ext cx="8402638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23"/>
            </p:custDataLst>
          </p:nvPr>
        </p:nvSpPr>
        <p:spPr bwMode="auto">
          <a:xfrm>
            <a:off x="358775" y="917575"/>
            <a:ext cx="8402638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22" r:id="rId2"/>
    <p:sldLayoutId id="2147483765" r:id="rId3"/>
    <p:sldLayoutId id="2147483764" r:id="rId4"/>
    <p:sldLayoutId id="2147483779" r:id="rId5"/>
    <p:sldLayoutId id="2147483785" r:id="rId6"/>
    <p:sldLayoutId id="2147483766" r:id="rId7"/>
    <p:sldLayoutId id="2147483768" r:id="rId8"/>
    <p:sldLayoutId id="2147483767" r:id="rId9"/>
    <p:sldLayoutId id="2147483791" r:id="rId10"/>
    <p:sldLayoutId id="2147483778" r:id="rId11"/>
    <p:sldLayoutId id="2147483745" r:id="rId12"/>
    <p:sldLayoutId id="2147483792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AUTOMATIC LOAD CASE COMBINATION GENERATOR FOR ALTAIR </a:t>
            </a:r>
            <a:r>
              <a:rPr lang="en-US" b="1" dirty="0" smtClean="0"/>
              <a:t>HYPERMESH </a:t>
            </a:r>
            <a:r>
              <a:rPr lang="en-US" sz="2000" dirty="0">
                <a:ea typeface="ＭＳ Ｐゴシック" charset="-128"/>
              </a:rPr>
              <a:t/>
            </a:r>
            <a:br>
              <a:rPr lang="en-US" sz="2000" dirty="0">
                <a:ea typeface="ＭＳ Ｐゴシック" charset="-128"/>
              </a:rPr>
            </a:br>
            <a:endParaRPr lang="en-CA" sz="2000" dirty="0"/>
          </a:p>
        </p:txBody>
      </p:sp>
      <p:sp>
        <p:nvSpPr>
          <p:cNvPr id="7" name="Espace réservé du contenu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CA" b="1" dirty="0" smtClean="0"/>
              <a:t>Event</a:t>
            </a:r>
          </a:p>
          <a:p>
            <a:r>
              <a:rPr lang="en-CA" b="1" dirty="0" smtClean="0"/>
              <a:t>Presenter</a:t>
            </a:r>
          </a:p>
          <a:p>
            <a:r>
              <a:rPr lang="en-CA" b="1" dirty="0" smtClean="0"/>
              <a:t>Title</a:t>
            </a:r>
          </a:p>
          <a:p>
            <a:r>
              <a:rPr lang="en-CA" b="1" dirty="0" smtClean="0"/>
              <a:t>Date</a:t>
            </a:r>
          </a:p>
          <a:p>
            <a:endParaRPr lang="en-CA" b="1" dirty="0"/>
          </a:p>
        </p:txBody>
      </p:sp>
    </p:spTree>
    <p:extLst>
      <p:ext uri="{BB962C8B-B14F-4D97-AF65-F5344CB8AC3E}">
        <p14:creationId xmlns:p14="http://schemas.microsoft.com/office/powerpoint/2010/main" val="4226681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Working folder of macro too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en-CA" smtClean="0"/>
              <a:pPr/>
              <a:t>2</a:t>
            </a:fld>
            <a:endParaRPr lang="en-C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0" y="1515762"/>
            <a:ext cx="8388423" cy="4434188"/>
          </a:xfrm>
        </p:spPr>
      </p:pic>
      <p:sp>
        <p:nvSpPr>
          <p:cNvPr id="10" name="TextBox 9"/>
          <p:cNvSpPr txBox="1"/>
          <p:nvPr/>
        </p:nvSpPr>
        <p:spPr>
          <a:xfrm>
            <a:off x="350729" y="906584"/>
            <a:ext cx="83977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o not delete any files from this folder. Run Loadcombs_Generator.exe for execution of tool while following the steps shown after this slide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2594267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be followed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en-CA" smtClean="0"/>
              <a:pPr/>
              <a:t>3</a:t>
            </a:fld>
            <a:endParaRPr lang="en-CA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4742" y="906584"/>
            <a:ext cx="6723971" cy="4958639"/>
          </a:xfrm>
        </p:spPr>
      </p:pic>
      <p:sp>
        <p:nvSpPr>
          <p:cNvPr id="7" name="TextBox 6"/>
          <p:cNvSpPr txBox="1"/>
          <p:nvPr/>
        </p:nvSpPr>
        <p:spPr>
          <a:xfrm>
            <a:off x="350728" y="1018903"/>
            <a:ext cx="167401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EP 1</a:t>
            </a:r>
          </a:p>
          <a:p>
            <a:endParaRPr lang="en-US" dirty="0"/>
          </a:p>
          <a:p>
            <a:r>
              <a:rPr lang="en-US" dirty="0"/>
              <a:t>Prepare the unit load collectors in the Hypermesh. (Note that the unit load cases IDs here should be same as the ones in the csv </a:t>
            </a:r>
            <a:r>
              <a:rPr lang="en-US" dirty="0" smtClean="0"/>
              <a:t>fi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698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en-CA" smtClean="0"/>
              <a:pPr/>
              <a:t>4</a:t>
            </a:fld>
            <a:endParaRPr lang="en-C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051" y="906584"/>
            <a:ext cx="6867414" cy="4931547"/>
          </a:xfrm>
        </p:spPr>
      </p:pic>
      <p:sp>
        <p:nvSpPr>
          <p:cNvPr id="7" name="TextBox 6"/>
          <p:cNvSpPr txBox="1"/>
          <p:nvPr/>
        </p:nvSpPr>
        <p:spPr>
          <a:xfrm>
            <a:off x="350729" y="906584"/>
            <a:ext cx="153032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EP 2</a:t>
            </a:r>
          </a:p>
          <a:p>
            <a:endParaRPr lang="en-US" dirty="0"/>
          </a:p>
          <a:p>
            <a:r>
              <a:rPr lang="en-US" dirty="0"/>
              <a:t>Prepare the input csv file containing the load cases for a set of unit loads in the format as shown in the fig.</a:t>
            </a:r>
          </a:p>
          <a:p>
            <a:r>
              <a:rPr lang="en-US" dirty="0"/>
              <a:t>Read the instructions carefully.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031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en-CA" smtClean="0"/>
              <a:pPr/>
              <a:t>5</a:t>
            </a:fld>
            <a:endParaRPr lang="en-C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990" y="906584"/>
            <a:ext cx="6880724" cy="4932513"/>
          </a:xfrm>
        </p:spPr>
      </p:pic>
      <p:sp>
        <p:nvSpPr>
          <p:cNvPr id="7" name="TextBox 6"/>
          <p:cNvSpPr txBox="1"/>
          <p:nvPr/>
        </p:nvSpPr>
        <p:spPr>
          <a:xfrm>
            <a:off x="360040" y="906584"/>
            <a:ext cx="15079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EP 3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Open the software and enter the following details as shown in fi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TEP </a:t>
            </a:r>
            <a:r>
              <a:rPr lang="en-US" dirty="0"/>
              <a:t>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r>
              <a:rPr lang="en-US" dirty="0"/>
              <a:t>Click generate to create the TCL file. </a:t>
            </a:r>
          </a:p>
          <a:p>
            <a:r>
              <a:rPr lang="en-US" dirty="0"/>
              <a:t>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400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CEA77D5-0B01-41C0-8AB2-471B057BD053}" type="slidenum">
              <a:rPr lang="en-CA" smtClean="0"/>
              <a:pPr/>
              <a:t>6</a:t>
            </a:fld>
            <a:endParaRPr lang="en-C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9063" y="906584"/>
            <a:ext cx="6449401" cy="4893325"/>
          </a:xfrm>
        </p:spPr>
      </p:pic>
      <p:sp>
        <p:nvSpPr>
          <p:cNvPr id="7" name="TextBox 6"/>
          <p:cNvSpPr txBox="1"/>
          <p:nvPr/>
        </p:nvSpPr>
        <p:spPr>
          <a:xfrm>
            <a:off x="360040" y="906584"/>
            <a:ext cx="180839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EP 5</a:t>
            </a:r>
          </a:p>
          <a:p>
            <a:r>
              <a:rPr lang="en-US" dirty="0"/>
              <a:t>Run the TCL file in Hyperworks. (File&gt;Run&gt;TCL script) </a:t>
            </a:r>
            <a:endParaRPr lang="en-US" dirty="0" smtClean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EP 6</a:t>
            </a:r>
          </a:p>
          <a:p>
            <a:r>
              <a:rPr lang="en-US"/>
              <a:t>All the required load cases are generated in Hypermesh as shown in the fig.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58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A77D5-0B01-41C0-8AB2-471B057BD053}" type="slidenum">
              <a:rPr lang="en-CA" smtClean="0"/>
              <a:pPr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8125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208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PqhKASxkObQlEAigvh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s7HhOBDEqyXBGZaWHfe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bd62pCoUSrDuXC8JKB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NiWEbXy0e_OUW7UHDy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.9mmVERkumj7U31zQh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ShMaN0kuabHV4Gzwm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spfHPLkyVslvFiFwf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JLYxTqGUOPnC7YQ31P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bSTv0EFkmCi0HFI7iN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QXlyy6RUOjqfbC_4qv0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0byBX14ke5QOnc7JNw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WUPjHUKkmEoID2BpFf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Y4UqCu2EStT0uombtf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66RleOS06bflpz5WVr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Q7kI4hEEuOD39I6.CN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DCuP._QUew3Li_vUu.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OC5yXrEC7iKwqmBVB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DN4OReJESubX8gonlS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Mn7W2470aUGbn306Z4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D2zg_HRUugBajfo.l6Q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tO4b0Em0qvtO3wFzi5J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bDaajXSUuavFmwb_24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s7HhOBDEqyXBGZaWHf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57GpX.0SPCuV59M5S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heme/theme1.xml><?xml version="1.0" encoding="utf-8"?>
<a:theme xmlns:a="http://schemas.openxmlformats.org/drawingml/2006/main" name="BBD_PPT_Template_FINAL_EN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SC_Standard_Presentation_EN" id="{57472CAE-4477-4DC6-8D17-C2E738D6137F}" vid="{78021D32-BDB2-4C25-BBB3-C7147FAEC36E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T_prsentation_template</Template>
  <TotalTime>0</TotalTime>
  <Words>178</Words>
  <Application>Microsoft Office PowerPoint</Application>
  <PresentationFormat>On-screen Show (4:3)</PresentationFormat>
  <Paragraphs>42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ＭＳ Ｐゴシック</vt:lpstr>
      <vt:lpstr>Arial</vt:lpstr>
      <vt:lpstr>Arial Black</vt:lpstr>
      <vt:lpstr>Calibri</vt:lpstr>
      <vt:lpstr>Wingdings</vt:lpstr>
      <vt:lpstr>BBD_PPT_Template_FINAL_EN</vt:lpstr>
      <vt:lpstr>think-cell Slide</vt:lpstr>
      <vt:lpstr>AUTOMATIC LOAD CASE COMBINATION GENERATOR FOR ALTAIR HYPERMESH  </vt:lpstr>
      <vt:lpstr> Working folder of macro tool</vt:lpstr>
      <vt:lpstr>Steps to be followed</vt:lpstr>
      <vt:lpstr>Contd.</vt:lpstr>
      <vt:lpstr>Contd.</vt:lpstr>
      <vt:lpstr>Contd.</vt:lpstr>
      <vt:lpstr>PowerPoint Presentation</vt:lpstr>
      <vt:lpstr>PowerPoint Presentation</vt:lpstr>
    </vt:vector>
  </TitlesOfParts>
  <Company>Bombardier Transport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IC LOAD CASE COMBINATION GENERATOR FOR ALTAIR HYPERWORKS  </dc:title>
  <dc:creator>Jithendra Sai</dc:creator>
  <cp:lastModifiedBy>Jithendra Sai</cp:lastModifiedBy>
  <cp:revision>4</cp:revision>
  <cp:lastPrinted>2012-05-04T14:30:29Z</cp:lastPrinted>
  <dcterms:created xsi:type="dcterms:W3CDTF">2018-02-23T05:42:56Z</dcterms:created>
  <dcterms:modified xsi:type="dcterms:W3CDTF">2018-02-26T08:17:49Z</dcterms:modified>
</cp:coreProperties>
</file>